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2"/>
  </p:notesMasterIdLst>
  <p:handoutMasterIdLst>
    <p:handoutMasterId r:id="rId33"/>
  </p:handoutMasterIdLst>
  <p:sldIdLst>
    <p:sldId id="302" r:id="rId3"/>
    <p:sldId id="407" r:id="rId4"/>
    <p:sldId id="408" r:id="rId5"/>
    <p:sldId id="410" r:id="rId6"/>
    <p:sldId id="411" r:id="rId7"/>
    <p:sldId id="432" r:id="rId8"/>
    <p:sldId id="409" r:id="rId9"/>
    <p:sldId id="412" r:id="rId10"/>
    <p:sldId id="414" r:id="rId11"/>
    <p:sldId id="433" r:id="rId12"/>
    <p:sldId id="415" r:id="rId13"/>
    <p:sldId id="418" r:id="rId14"/>
    <p:sldId id="420" r:id="rId15"/>
    <p:sldId id="421" r:id="rId16"/>
    <p:sldId id="422" r:id="rId17"/>
    <p:sldId id="423" r:id="rId18"/>
    <p:sldId id="424" r:id="rId19"/>
    <p:sldId id="416" r:id="rId20"/>
    <p:sldId id="419" r:id="rId21"/>
    <p:sldId id="425" r:id="rId22"/>
    <p:sldId id="417" r:id="rId23"/>
    <p:sldId id="427" r:id="rId24"/>
    <p:sldId id="428" r:id="rId25"/>
    <p:sldId id="429" r:id="rId26"/>
    <p:sldId id="430" r:id="rId27"/>
    <p:sldId id="431" r:id="rId28"/>
    <p:sldId id="434" r:id="rId29"/>
    <p:sldId id="435" r:id="rId30"/>
    <p:sldId id="426" r:id="rId31"/>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69" d="100"/>
          <a:sy n="69" d="100"/>
        </p:scale>
        <p:origin x="354" y="7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4/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4/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irtual Reality (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o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άνθρωπος στο επίκεντρ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Service Provider</a:t>
            </a:r>
            <a:r>
              <a:rPr lang="el-GR" dirty="0"/>
              <a:t> Δίκτυα κάνοντας πρακτική σε Αθήνα-Θεσσαλονίκη σε </a:t>
            </a:r>
            <a:r>
              <a:rPr lang="el-GR" dirty="0" err="1"/>
              <a:t>Παρόχους</a:t>
            </a:r>
            <a:r>
              <a:rPr lang="el-GR" dirty="0"/>
              <a:t> </a:t>
            </a:r>
            <a:r>
              <a:rPr lang="en-US" dirty="0"/>
              <a:t>Vodafone-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plication programmable interfaces (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client server </a:t>
            </a:r>
            <a:r>
              <a:rPr lang="el-GR" dirty="0"/>
              <a:t>επικοινωνία),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 </a:t>
            </a:r>
            <a:r>
              <a:rPr lang="el-GR" dirty="0"/>
              <a:t>Το Κάθε </a:t>
            </a:r>
            <a:r>
              <a:rPr lang="en-US" dirty="0"/>
              <a:t>Action </a:t>
            </a:r>
            <a:r>
              <a:rPr lang="el-GR" dirty="0"/>
              <a:t>πρέπει να γίνει σωστά </a:t>
            </a:r>
            <a:r>
              <a:rPr lang="en-US" dirty="0"/>
              <a:t>replicate </a:t>
            </a:r>
            <a:r>
              <a:rPr lang="el-GR" dirty="0"/>
              <a:t>διότι είναι </a:t>
            </a:r>
            <a:r>
              <a:rPr lang="en-US" dirty="0"/>
              <a:t>Multiplayer </a:t>
            </a:r>
            <a:r>
              <a:rPr lang="el-GR" dirty="0"/>
              <a:t>δηλαδή και τα </a:t>
            </a:r>
            <a:r>
              <a:rPr lang="en-US" dirty="0"/>
              <a:t>visual </a:t>
            </a:r>
            <a:r>
              <a:rPr lang="el-GR" dirty="0"/>
              <a:t>και </a:t>
            </a:r>
            <a:r>
              <a:rPr lang="en-US" dirty="0"/>
              <a:t>audio </a:t>
            </a:r>
            <a:r>
              <a:rPr lang="el-GR" dirty="0"/>
              <a:t>πρέπει να διαδοθούν σε όλους κάτι που δεν ισχύει σε </a:t>
            </a:r>
            <a:r>
              <a:rPr lang="en-US" dirty="0"/>
              <a:t>solo/SinglePlayer games.</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βρούνε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a:t>
            </a:r>
            <a:r>
              <a:rPr lang="en-US" dirty="0"/>
              <a:t> (transmitter)</a:t>
            </a:r>
            <a:r>
              <a:rPr lang="el-GR" dirty="0"/>
              <a:t>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347017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6.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9144000" cy="6268383"/>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540327" y="381222"/>
            <a:ext cx="8229600" cy="1143000"/>
          </a:xfrm>
        </p:spPr>
        <p:txBody>
          <a:bodyPr/>
          <a:lstStyle/>
          <a:p>
            <a:r>
              <a:rPr lang="el-GR" b="1" dirty="0">
                <a:latin typeface="Arial" panose="020B0604020202020204" pitchFamily="34" charset="0"/>
                <a:cs typeface="Arial" panose="020B0604020202020204" pitchFamily="34" charset="0"/>
              </a:rPr>
              <a:t>Τι προσφέρει η έρευνα?</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632311"/>
          </a:xfrm>
          <a:prstGeom prst="rect">
            <a:avLst/>
          </a:prstGeom>
          <a:noFill/>
        </p:spPr>
        <p:txBody>
          <a:bodyPr wrap="square">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dirty="0" err="1">
                <a:latin typeface="Arial" panose="020B0604020202020204" pitchFamily="34" charset="0"/>
                <a:cs typeface="Arial" panose="020B0604020202020204" pitchFamily="34" charset="0"/>
              </a:rPr>
              <a:t>χαρακτηρηστικών</a:t>
            </a:r>
            <a:r>
              <a:rPr lang="en-US" sz="2400" dirty="0">
                <a:latin typeface="Arial" panose="020B0604020202020204" pitchFamily="34" charset="0"/>
                <a:cs typeface="Arial" panose="020B0604020202020204" pitchFamily="34" charset="0"/>
              </a:rPr>
              <a:t>(</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 – Multiplayer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89</TotalTime>
  <Words>2960</Words>
  <Application>Microsoft Office PowerPoint</Application>
  <PresentationFormat>On-screen Show (4:3)</PresentationFormat>
  <Paragraphs>323</Paragraphs>
  <Slides>29</Slides>
  <Notes>28</Notes>
  <HiddenSlides>0</HiddenSlides>
  <MMClips>1</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9</vt:i4>
      </vt:variant>
    </vt:vector>
  </HeadingPairs>
  <TitlesOfParts>
    <vt:vector size="37" baseType="lpstr">
      <vt:lpstr>Arial</vt:lpstr>
      <vt:lpstr>Calibri</vt:lpstr>
      <vt:lpstr>Cambria Math</vt:lpstr>
      <vt:lpstr>Century Gothic</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Τι προσφέρει η έρευνα?</vt:lpstr>
      <vt:lpstr>Η τρέχουσα υλοποίηση του έργου </vt:lpstr>
      <vt:lpstr>Product Steps</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81</cp:revision>
  <cp:lastPrinted>2017-10-27T14:03:26Z</cp:lastPrinted>
  <dcterms:created xsi:type="dcterms:W3CDTF">2015-10-17T16:20:42Z</dcterms:created>
  <dcterms:modified xsi:type="dcterms:W3CDTF">2022-05-14T08:01:25Z</dcterms:modified>
</cp:coreProperties>
</file>